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
  </p:notesMasterIdLst>
  <p:handoutMasterIdLst>
    <p:handoutMasterId r:id="rId9"/>
  </p:handoutMasterIdLst>
  <p:sldIdLst>
    <p:sldId id="443" r:id="rId2"/>
    <p:sldId id="445" r:id="rId3"/>
    <p:sldId id="447" r:id="rId4"/>
    <p:sldId id="448" r:id="rId5"/>
    <p:sldId id="450" r:id="rId6"/>
    <p:sldId id="441" r:id="rId7"/>
  </p:sldIdLst>
  <p:sldSz cx="9144000" cy="6858000" type="screen4x3"/>
  <p:notesSz cx="7315200" cy="96012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1" autoAdjust="0"/>
    <p:restoredTop sz="95047" autoAdjust="0"/>
  </p:normalViewPr>
  <p:slideViewPr>
    <p:cSldViewPr snapToGrid="0" showGuides="1">
      <p:cViewPr varScale="1">
        <p:scale>
          <a:sx n="98" d="100"/>
          <a:sy n="98" d="100"/>
        </p:scale>
        <p:origin x="1420" y="52"/>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0/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0/2018</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2144953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098938" cy="3996000"/>
          </a:xfrm>
        </p:spPr>
        <p:txBody>
          <a:bodyPr/>
          <a:lstStyle/>
          <a:p>
            <a:r>
              <a:rPr lang="en-US" noProof="0" dirty="0"/>
              <a:t>Click icon to add chart</a:t>
            </a:r>
          </a:p>
        </p:txBody>
      </p:sp>
      <p:sp>
        <p:nvSpPr>
          <p:cNvPr id="6" name="Text Placeholder 5"/>
          <p:cNvSpPr>
            <a:spLocks noGrp="1"/>
          </p:cNvSpPr>
          <p:nvPr>
            <p:ph type="body" sz="quarter" idx="22"/>
          </p:nvPr>
        </p:nvSpPr>
        <p:spPr>
          <a:xfrm>
            <a:off x="4668824" y="1665288"/>
            <a:ext cx="409893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76237" y="2125013"/>
            <a:ext cx="4095737" cy="3996000"/>
          </a:xfrm>
        </p:spPr>
        <p:txBody>
          <a:bodyPr/>
          <a:lstStyle>
            <a:lvl1pPr>
              <a:defRPr/>
            </a:lvl1pPr>
            <a:lvl2pPr marL="171450" indent="-171450">
              <a:defRPr/>
            </a:lvl2pPr>
          </a:lstStyle>
          <a:p>
            <a:pPr lvl="1"/>
            <a:endParaRPr lang="en-US" noProof="0" dirty="0"/>
          </a:p>
        </p:txBody>
      </p:sp>
      <p:sp>
        <p:nvSpPr>
          <p:cNvPr id="12" name="Text Placeholder 5"/>
          <p:cNvSpPr>
            <a:spLocks noGrp="1"/>
          </p:cNvSpPr>
          <p:nvPr>
            <p:ph type="body" sz="quarter" idx="25"/>
          </p:nvPr>
        </p:nvSpPr>
        <p:spPr>
          <a:xfrm>
            <a:off x="376237" y="1665288"/>
            <a:ext cx="4105276" cy="420687"/>
          </a:xfrm>
        </p:spPr>
        <p:txBody>
          <a:bodyPr/>
          <a:lstStyle/>
          <a:p>
            <a:pPr lvl="0"/>
            <a:r>
              <a:rPr lang="en-US" noProof="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3688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Deloitte Development LLC. All rights reserved.</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Graduate school Maverick</a:t>
            </a: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8 Deloitte Development LLC.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TechnoUtsav</a:t>
            </a:r>
          </a:p>
        </p:txBody>
      </p:sp>
      <p:sp>
        <p:nvSpPr>
          <p:cNvPr id="5" name="Text Placeholder 4"/>
          <p:cNvSpPr>
            <a:spLocks noGrp="1"/>
          </p:cNvSpPr>
          <p:nvPr>
            <p:ph type="body" sz="quarter" idx="10"/>
          </p:nvPr>
        </p:nvSpPr>
        <p:spPr/>
        <p:txBody>
          <a:bodyPr/>
          <a:lstStyle/>
          <a:p>
            <a:r>
              <a:rPr lang="en-US" noProof="0" dirty="0"/>
              <a:t>Grand Finale–</a:t>
            </a:r>
            <a:r>
              <a:rPr lang="en-US" dirty="0"/>
              <a:t>April 13th</a:t>
            </a:r>
            <a:r>
              <a:rPr lang="en-US" noProof="0" dirty="0"/>
              <a:t>, 2018</a:t>
            </a:r>
          </a:p>
        </p:txBody>
      </p:sp>
      <p:pic>
        <p:nvPicPr>
          <p:cNvPr id="6" name="Picture Placeholder 5">
            <a:extLst>
              <a:ext uri="{FF2B5EF4-FFF2-40B4-BE49-F238E27FC236}">
                <a16:creationId xmlns:a16="http://schemas.microsoft.com/office/drawing/2014/main" xmlns="" id="{5E085B71-E5B0-4B1B-8D8F-3DE680E2E6CD}"/>
              </a:ext>
            </a:extLst>
          </p:cNvPr>
          <p:cNvPicPr>
            <a:picLocks noGrp="1" noChangeAspect="1"/>
          </p:cNvPicPr>
          <p:nvPr>
            <p:ph type="pic" sz="quarter" idx="11"/>
          </p:nvPr>
        </p:nvPicPr>
        <p:blipFill>
          <a:blip r:embed="rId3"/>
          <a:srcRect l="15" r="15"/>
          <a:stretch>
            <a:fillRect/>
          </a:stretch>
        </p:blipFill>
        <p:spPr/>
      </p:pic>
    </p:spTree>
    <p:extLst>
      <p:ext uri="{BB962C8B-B14F-4D97-AF65-F5344CB8AC3E}">
        <p14:creationId xmlns:p14="http://schemas.microsoft.com/office/powerpoint/2010/main" val="15619923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list for the grand finale</a:t>
            </a:r>
          </a:p>
        </p:txBody>
      </p:sp>
      <p:sp>
        <p:nvSpPr>
          <p:cNvPr id="10" name="Content Placeholder 9">
            <a:extLst>
              <a:ext uri="{FF2B5EF4-FFF2-40B4-BE49-F238E27FC236}">
                <a16:creationId xmlns:a16="http://schemas.microsoft.com/office/drawing/2014/main" xmlns="" id="{1F7EC4F1-5BC0-4AA4-973C-2F9748C63E9E}"/>
              </a:ext>
            </a:extLst>
          </p:cNvPr>
          <p:cNvSpPr>
            <a:spLocks noGrp="1"/>
          </p:cNvSpPr>
          <p:nvPr>
            <p:ph idx="1"/>
          </p:nvPr>
        </p:nvSpPr>
        <p:spPr>
          <a:xfrm>
            <a:off x="376238" y="1038924"/>
            <a:ext cx="8374062" cy="4716463"/>
          </a:xfrm>
        </p:spPr>
        <p:txBody>
          <a:bodyPr/>
          <a:lstStyle/>
          <a:p>
            <a:pPr lvl="1"/>
            <a:r>
              <a:rPr lang="en-US" dirty="0"/>
              <a:t>Participation in TechnoUtsav Finale at Hyderabad on April 13th, 2018 is by invitation.</a:t>
            </a:r>
          </a:p>
          <a:p>
            <a:pPr lvl="1"/>
            <a:r>
              <a:rPr lang="en-US" dirty="0"/>
              <a:t>Please carry a valid government </a:t>
            </a:r>
            <a:r>
              <a:rPr lang="en-US" dirty="0" smtClean="0"/>
              <a:t>ID with </a:t>
            </a:r>
            <a:r>
              <a:rPr lang="en-US" dirty="0"/>
              <a:t>you.</a:t>
            </a:r>
          </a:p>
          <a:p>
            <a:pPr lvl="1"/>
            <a:r>
              <a:rPr lang="en-US" dirty="0"/>
              <a:t>Deloitte will make the necessary arrangements for air travel, cabs upon arrival, accommodation, and food for TechnoUtsav contestants participating in the Grand Finale. </a:t>
            </a:r>
          </a:p>
          <a:p>
            <a:pPr lvl="1"/>
            <a:r>
              <a:rPr lang="en-US" dirty="0"/>
              <a:t>Dress code for all TechnoUtsav contestants is </a:t>
            </a:r>
            <a:r>
              <a:rPr lang="en-US" dirty="0" smtClean="0"/>
              <a:t>Jeans </a:t>
            </a:r>
            <a:r>
              <a:rPr lang="en-US" dirty="0"/>
              <a:t>and TechnoUtsav T-shirt</a:t>
            </a:r>
          </a:p>
          <a:p>
            <a:pPr lvl="1"/>
            <a:r>
              <a:rPr lang="en-US" dirty="0"/>
              <a:t>Do not carry any electronic devices </a:t>
            </a:r>
            <a:r>
              <a:rPr lang="en-US" dirty="0" smtClean="0"/>
              <a:t>(digital </a:t>
            </a:r>
            <a:r>
              <a:rPr lang="en-US" dirty="0"/>
              <a:t>diaries, tablets, etc.) except for your mobile phones, within Deloitte premises. </a:t>
            </a:r>
            <a:endParaRPr lang="en-US" dirty="0" smtClean="0"/>
          </a:p>
          <a:p>
            <a:pPr lvl="1"/>
            <a:r>
              <a:rPr lang="en-US" dirty="0" smtClean="0"/>
              <a:t>Only the Team Captain is permitted to carry their personal laptops inside the Deloitte premises</a:t>
            </a:r>
            <a:endParaRPr lang="en-US" dirty="0"/>
          </a:p>
          <a:p>
            <a:pPr lvl="1"/>
            <a:r>
              <a:rPr lang="en-US" dirty="0"/>
              <a:t>The Grand Finale for both CCTC and </a:t>
            </a:r>
            <a:r>
              <a:rPr lang="en-US" dirty="0" err="1"/>
              <a:t>TechE</a:t>
            </a:r>
            <a:r>
              <a:rPr lang="en-US" dirty="0"/>
              <a:t> where you will compete with other teams from campuses across India will be held at Deloitte University: The Leadership Centre in Hyderabad.</a:t>
            </a:r>
          </a:p>
          <a:p>
            <a:pPr lvl="1"/>
            <a:r>
              <a:rPr lang="en-US" dirty="0"/>
              <a:t>Lunch has been organized at Deloitte University: The Leadership Centre in India, Hyderabad which will give you an opportunity to interact with the Partners, Managing Directors, Senior Managers and Talent professionals.</a:t>
            </a:r>
          </a:p>
          <a:p>
            <a:pPr marL="0" lvl="1" indent="0">
              <a:buNone/>
            </a:pPr>
            <a:endParaRPr lang="en-US" dirty="0"/>
          </a:p>
          <a:p>
            <a:pPr lvl="1"/>
            <a:endParaRPr lang="en-US" dirty="0"/>
          </a:p>
          <a:p>
            <a:pPr lvl="1"/>
            <a:endParaRPr lang="en-US" dirty="0"/>
          </a:p>
        </p:txBody>
      </p:sp>
      <p:sp>
        <p:nvSpPr>
          <p:cNvPr id="17" name="Freeform 796">
            <a:extLst>
              <a:ext uri="{FF2B5EF4-FFF2-40B4-BE49-F238E27FC236}">
                <a16:creationId xmlns:a16="http://schemas.microsoft.com/office/drawing/2014/main" xmlns="" id="{4066DFD4-D30C-45AC-9AA8-F09D219F9F8F}"/>
              </a:ext>
            </a:extLst>
          </p:cNvPr>
          <p:cNvSpPr>
            <a:spLocks noChangeAspect="1" noEditPoints="1"/>
          </p:cNvSpPr>
          <p:nvPr/>
        </p:nvSpPr>
        <p:spPr bwMode="auto">
          <a:xfrm>
            <a:off x="7518708" y="5129023"/>
            <a:ext cx="1249055" cy="12527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8" name="Rectangle 17">
            <a:extLst>
              <a:ext uri="{FF2B5EF4-FFF2-40B4-BE49-F238E27FC236}">
                <a16:creationId xmlns:a16="http://schemas.microsoft.com/office/drawing/2014/main" xmlns="" id="{8847D2B4-24BD-4BEE-AB3E-8A37BA84E6A8}"/>
              </a:ext>
            </a:extLst>
          </p:cNvPr>
          <p:cNvSpPr/>
          <p:nvPr/>
        </p:nvSpPr>
        <p:spPr>
          <a:xfrm>
            <a:off x="376238" y="6074338"/>
            <a:ext cx="5530850" cy="369332"/>
          </a:xfrm>
          <a:prstGeom prst="rect">
            <a:avLst/>
          </a:prstGeom>
        </p:spPr>
        <p:txBody>
          <a:bodyPr wrap="square">
            <a:spAutoFit/>
          </a:bodyPr>
          <a:lstStyle/>
          <a:p>
            <a:r>
              <a:rPr lang="en-US" sz="600" dirty="0"/>
              <a:t>As used in this document, “Deloitte” means Deloitte &amp; Touche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p:txBody>
      </p:sp>
      <p:sp>
        <p:nvSpPr>
          <p:cNvPr id="7" name="Content Placeholder 3">
            <a:extLst>
              <a:ext uri="{FF2B5EF4-FFF2-40B4-BE49-F238E27FC236}">
                <a16:creationId xmlns:a16="http://schemas.microsoft.com/office/drawing/2014/main" xmlns="" id="{17527B58-34CD-4D07-86B6-9E3DE26FC5B6}"/>
              </a:ext>
            </a:extLst>
          </p:cNvPr>
          <p:cNvSpPr txBox="1">
            <a:spLocks/>
          </p:cNvSpPr>
          <p:nvPr/>
        </p:nvSpPr>
        <p:spPr>
          <a:xfrm>
            <a:off x="376238" y="3210339"/>
            <a:ext cx="8374062" cy="317141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1" indent="0">
              <a:buFont typeface="Arial" panose="020B0604020202020204" pitchFamily="34" charset="0"/>
              <a:buNone/>
            </a:pPr>
            <a:endParaRPr lang="en-US" dirty="0"/>
          </a:p>
        </p:txBody>
      </p:sp>
      <p:sp>
        <p:nvSpPr>
          <p:cNvPr id="3" name="Rectangle 2">
            <a:extLst>
              <a:ext uri="{FF2B5EF4-FFF2-40B4-BE49-F238E27FC236}">
                <a16:creationId xmlns:a16="http://schemas.microsoft.com/office/drawing/2014/main" xmlns="" id="{BF86317C-8ABD-4946-AC26-DCD2A31E1401}"/>
              </a:ext>
            </a:extLst>
          </p:cNvPr>
          <p:cNvSpPr/>
          <p:nvPr/>
        </p:nvSpPr>
        <p:spPr bwMode="gray">
          <a:xfrm>
            <a:off x="7056783" y="6416966"/>
            <a:ext cx="1550504" cy="33793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53005280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a:t>Ready reckoner</a:t>
            </a:r>
            <a:endParaRPr lang="en-US" dirty="0"/>
          </a:p>
        </p:txBody>
      </p:sp>
      <p:sp>
        <p:nvSpPr>
          <p:cNvPr id="5" name="Title 4"/>
          <p:cNvSpPr>
            <a:spLocks noGrp="1"/>
          </p:cNvSpPr>
          <p:nvPr>
            <p:ph type="title"/>
          </p:nvPr>
        </p:nvSpPr>
        <p:spPr/>
        <p:txBody>
          <a:bodyPr/>
          <a:lstStyle/>
          <a:p>
            <a:r>
              <a:rPr lang="en-US" dirty="0"/>
              <a:t>Deloitte University Premise </a:t>
            </a:r>
          </a:p>
        </p:txBody>
      </p:sp>
      <p:sp>
        <p:nvSpPr>
          <p:cNvPr id="7" name="Text Placeholder 6"/>
          <p:cNvSpPr>
            <a:spLocks noGrp="1"/>
          </p:cNvSpPr>
          <p:nvPr>
            <p:ph idx="1"/>
          </p:nvPr>
        </p:nvSpPr>
        <p:spPr>
          <a:xfrm>
            <a:off x="373937" y="1230786"/>
            <a:ext cx="8374062" cy="4713911"/>
          </a:xfrm>
        </p:spPr>
        <p:txBody>
          <a:bodyPr/>
          <a:lstStyle/>
          <a:p>
            <a:pPr marL="171450" lvl="1" indent="-171450"/>
            <a:r>
              <a:rPr lang="en-US" dirty="0"/>
              <a:t>Please display your TechnoUtsav ID card for cognizance by security</a:t>
            </a:r>
          </a:p>
          <a:p>
            <a:pPr marL="171450" lvl="1" indent="-171450"/>
            <a:r>
              <a:rPr lang="en-US" dirty="0"/>
              <a:t>In case you are carrying an electronic device like laptop, I–pad etc., a separate security pass needs to be issued for the device. </a:t>
            </a:r>
          </a:p>
          <a:p>
            <a:pPr marL="171450" lvl="1" indent="-171450"/>
            <a:r>
              <a:rPr lang="en-US" dirty="0"/>
              <a:t>Please do not carry any food items into the rooms. </a:t>
            </a:r>
          </a:p>
          <a:p>
            <a:pPr marL="171450" lvl="1" indent="-171450"/>
            <a:r>
              <a:rPr lang="en-US" dirty="0"/>
              <a:t>Kindly take care of your personal belongings at all times; please don’t leave behind any items when you move to different rooms for break out sessions or any other activity. </a:t>
            </a:r>
          </a:p>
          <a:p>
            <a:pPr marL="171450" lvl="1" indent="-171450"/>
            <a:r>
              <a:rPr lang="en-US" dirty="0"/>
              <a:t>Photography is </a:t>
            </a:r>
            <a:r>
              <a:rPr lang="en-US" dirty="0" smtClean="0"/>
              <a:t>prohibited</a:t>
            </a:r>
            <a:r>
              <a:rPr lang="en-US" dirty="0" smtClean="0"/>
              <a:t> </a:t>
            </a:r>
            <a:endParaRPr lang="en-US" dirty="0"/>
          </a:p>
          <a:p>
            <a:pPr marL="171450" lvl="1" indent="-171450"/>
            <a:endParaRPr lang="en-US" dirty="0"/>
          </a:p>
          <a:p>
            <a:pPr marL="0" lvl="1" indent="0">
              <a:buNone/>
            </a:pPr>
            <a:r>
              <a:rPr lang="en-US" dirty="0"/>
              <a:t>Address : Building No. 9, Raheja Mindspace, Raheja IT Park, HUDA Techno Enclave, HITEC City, Hyderabad, Telangana - 500081</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8974" y="6145460"/>
            <a:ext cx="1709025" cy="233739"/>
          </a:xfrm>
          <a:prstGeom prst="rect">
            <a:avLst/>
          </a:prstGeom>
        </p:spPr>
      </p:pic>
    </p:spTree>
    <p:extLst>
      <p:ext uri="{BB962C8B-B14F-4D97-AF65-F5344CB8AC3E}">
        <p14:creationId xmlns:p14="http://schemas.microsoft.com/office/powerpoint/2010/main" val="21601923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Guidelines for your stay and departure</a:t>
            </a:r>
          </a:p>
        </p:txBody>
      </p:sp>
      <p:sp>
        <p:nvSpPr>
          <p:cNvPr id="5" name="Title 4"/>
          <p:cNvSpPr>
            <a:spLocks noGrp="1"/>
          </p:cNvSpPr>
          <p:nvPr>
            <p:ph type="title"/>
          </p:nvPr>
        </p:nvSpPr>
        <p:spPr/>
        <p:txBody>
          <a:bodyPr/>
          <a:lstStyle/>
          <a:p>
            <a:r>
              <a:rPr lang="en-US" dirty="0"/>
              <a:t>Your stay at IBIS</a:t>
            </a:r>
          </a:p>
        </p:txBody>
      </p:sp>
      <p:sp>
        <p:nvSpPr>
          <p:cNvPr id="33" name="Content Placeholder 32">
            <a:extLst>
              <a:ext uri="{FF2B5EF4-FFF2-40B4-BE49-F238E27FC236}">
                <a16:creationId xmlns:a16="http://schemas.microsoft.com/office/drawing/2014/main" xmlns="" id="{933F91A5-E921-48DA-8C81-A7D5FE8879D2}"/>
              </a:ext>
            </a:extLst>
          </p:cNvPr>
          <p:cNvSpPr>
            <a:spLocks noGrp="1"/>
          </p:cNvSpPr>
          <p:nvPr>
            <p:ph idx="1"/>
          </p:nvPr>
        </p:nvSpPr>
        <p:spPr>
          <a:xfrm>
            <a:off x="373938" y="1408855"/>
            <a:ext cx="8374062" cy="4713911"/>
          </a:xfrm>
        </p:spPr>
        <p:txBody>
          <a:bodyPr/>
          <a:lstStyle/>
          <a:p>
            <a:pPr marL="171450" indent="-171450">
              <a:buFont typeface="Arial" panose="020B0604020202020204" pitchFamily="34" charset="0"/>
              <a:buChar char="•"/>
            </a:pPr>
            <a:r>
              <a:rPr lang="en-US" dirty="0"/>
              <a:t>Complimentary Wi-Fi Access will be provided for the complete duration of your stay.</a:t>
            </a:r>
          </a:p>
          <a:p>
            <a:pPr marL="171450" indent="-171450">
              <a:buFont typeface="Arial" panose="020B0604020202020204" pitchFamily="34" charset="0"/>
              <a:buChar char="•"/>
            </a:pPr>
            <a:r>
              <a:rPr lang="en-US" dirty="0"/>
              <a:t>Breakfast and dinner at the IBIS (room service not included) are a part of the package.</a:t>
            </a:r>
          </a:p>
          <a:p>
            <a:pPr marL="171450" indent="-171450">
              <a:buFont typeface="Arial" panose="020B0604020202020204" pitchFamily="34" charset="0"/>
              <a:buChar char="•"/>
            </a:pPr>
            <a:r>
              <a:rPr lang="en-US" dirty="0"/>
              <a:t>Buffet dinner on April 12th, 2018 at Spice It, Ibis will be served from 07:30 PM to 09:30 PM.</a:t>
            </a:r>
          </a:p>
          <a:p>
            <a:pPr marL="171450" indent="-171450">
              <a:buFont typeface="Arial" panose="020B0604020202020204" pitchFamily="34" charset="0"/>
              <a:buChar char="•"/>
            </a:pPr>
            <a:r>
              <a:rPr lang="en-US" dirty="0"/>
              <a:t>The check-out has to be completed on April 13th, 2018, 07:00 AM, for those travelling on the same day.</a:t>
            </a:r>
          </a:p>
          <a:p>
            <a:pPr marL="171450" indent="-171450">
              <a:buFont typeface="Arial" panose="020B0604020202020204" pitchFamily="34" charset="0"/>
              <a:buChar char="•"/>
            </a:pPr>
            <a:r>
              <a:rPr lang="en-US" dirty="0"/>
              <a:t>Bus transport will be provided from the hotel to the finale venue </a:t>
            </a:r>
            <a:r>
              <a:rPr lang="en-US" dirty="0" err="1"/>
              <a:t>i.e</a:t>
            </a:r>
            <a:r>
              <a:rPr lang="en-US" dirty="0"/>
              <a:t> Deloitte University</a:t>
            </a:r>
          </a:p>
          <a:p>
            <a:pPr marL="171450" indent="-171450">
              <a:buFont typeface="Arial" panose="020B0604020202020204" pitchFamily="34" charset="0"/>
              <a:buChar char="•"/>
            </a:pPr>
            <a:r>
              <a:rPr lang="en-US" dirty="0"/>
              <a:t>Please label your luggage while checking out. For those travelling on 13</a:t>
            </a:r>
            <a:r>
              <a:rPr lang="en-US" baseline="30000" dirty="0"/>
              <a:t>th</a:t>
            </a:r>
            <a:r>
              <a:rPr lang="en-US" dirty="0"/>
              <a:t> April, please carry your luggage to the bus.</a:t>
            </a:r>
          </a:p>
          <a:p>
            <a:pPr marL="171450" indent="-171450">
              <a:buFont typeface="Arial" panose="020B0604020202020204" pitchFamily="34" charset="0"/>
              <a:buChar char="•"/>
            </a:pPr>
            <a:r>
              <a:rPr lang="en-US" dirty="0"/>
              <a:t>Buses/cabs will be provided for your transfer from Deloitte University to the airport on April 13th, 2018.</a:t>
            </a:r>
          </a:p>
          <a:p>
            <a:pPr marL="171450" indent="-171450">
              <a:buFont typeface="Arial" panose="020B0604020202020204" pitchFamily="34" charset="0"/>
              <a:buChar char="•"/>
            </a:pPr>
            <a:r>
              <a:rPr lang="en-US" dirty="0"/>
              <a:t>For teams whose flights are scheduled for the next day, dinner for April 13th, 2018, and breakfast for April 14th, 2018 is a part of the room package.</a:t>
            </a:r>
          </a:p>
          <a:p>
            <a:pPr marL="171450" indent="-171450">
              <a:buFont typeface="Arial" panose="020B0604020202020204" pitchFamily="34" charset="0"/>
              <a:buChar char="•"/>
            </a:pPr>
            <a:r>
              <a:rPr lang="en-US" dirty="0"/>
              <a:t>Transport will be provided from the hotel to the airport of April 14</a:t>
            </a:r>
            <a:r>
              <a:rPr lang="en-US" baseline="30000" dirty="0"/>
              <a:t>th</a:t>
            </a:r>
            <a:r>
              <a:rPr lang="en-US" dirty="0"/>
              <a:t>,2018</a:t>
            </a:r>
          </a:p>
          <a:p>
            <a:pPr marL="171450" indent="-171450">
              <a:buFont typeface="Arial" panose="020B0604020202020204" pitchFamily="34" charset="0"/>
              <a:buChar char="•"/>
            </a:pPr>
            <a:r>
              <a:rPr lang="en-US" dirty="0"/>
              <a:t>In case you wish to avail any other facilities provided by the hotel, the same will be charged on actuals and payable by you at the time of check out. </a:t>
            </a:r>
          </a:p>
          <a:p>
            <a:pPr marL="171450" indent="-171450">
              <a:buFont typeface="Arial" panose="020B0604020202020204" pitchFamily="34" charset="0"/>
              <a:buChar char="•"/>
            </a:pPr>
            <a:r>
              <a:rPr lang="en-US" dirty="0"/>
              <a:t>Reimbursement will not be provided from residence/campus to the airport and vice versa</a:t>
            </a:r>
          </a:p>
          <a:p>
            <a:endParaRPr lang="en-US" dirty="0"/>
          </a:p>
          <a:p>
            <a:pPr marL="171450" indent="-171450">
              <a:buFont typeface="Arial" panose="020B0604020202020204" pitchFamily="34" charset="0"/>
              <a:buChar char="•"/>
            </a:pPr>
            <a:endParaRPr lang="en-US" dirty="0"/>
          </a:p>
        </p:txBody>
      </p:sp>
      <p:sp>
        <p:nvSpPr>
          <p:cNvPr id="34" name="Freeform 462">
            <a:extLst>
              <a:ext uri="{FF2B5EF4-FFF2-40B4-BE49-F238E27FC236}">
                <a16:creationId xmlns:a16="http://schemas.microsoft.com/office/drawing/2014/main" xmlns="" id="{8DC52F7C-1632-4A0C-B8AD-7C3A916348D8}"/>
              </a:ext>
            </a:extLst>
          </p:cNvPr>
          <p:cNvSpPr>
            <a:spLocks noChangeAspect="1" noEditPoints="1"/>
          </p:cNvSpPr>
          <p:nvPr/>
        </p:nvSpPr>
        <p:spPr bwMode="auto">
          <a:xfrm>
            <a:off x="7515225" y="5129212"/>
            <a:ext cx="1252538" cy="1252538"/>
          </a:xfrm>
          <a:custGeom>
            <a:avLst/>
            <a:gdLst>
              <a:gd name="T0" fmla="*/ 192 w 512"/>
              <a:gd name="T1" fmla="*/ 224 h 512"/>
              <a:gd name="T2" fmla="*/ 181 w 512"/>
              <a:gd name="T3" fmla="*/ 234 h 512"/>
              <a:gd name="T4" fmla="*/ 170 w 512"/>
              <a:gd name="T5" fmla="*/ 224 h 512"/>
              <a:gd name="T6" fmla="*/ 181 w 512"/>
              <a:gd name="T7" fmla="*/ 213 h 512"/>
              <a:gd name="T8" fmla="*/ 192 w 512"/>
              <a:gd name="T9" fmla="*/ 224 h 512"/>
              <a:gd name="T10" fmla="*/ 341 w 512"/>
              <a:gd name="T11" fmla="*/ 234 h 512"/>
              <a:gd name="T12" fmla="*/ 234 w 512"/>
              <a:gd name="T13" fmla="*/ 234 h 512"/>
              <a:gd name="T14" fmla="*/ 234 w 512"/>
              <a:gd name="T15" fmla="*/ 256 h 512"/>
              <a:gd name="T16" fmla="*/ 372 w 512"/>
              <a:gd name="T17" fmla="*/ 256 h 512"/>
              <a:gd name="T18" fmla="*/ 341 w 512"/>
              <a:gd name="T19" fmla="*/ 234 h 512"/>
              <a:gd name="T20" fmla="*/ 213 w 512"/>
              <a:gd name="T21" fmla="*/ 224 h 512"/>
              <a:gd name="T22" fmla="*/ 181 w 512"/>
              <a:gd name="T23" fmla="*/ 256 h 512"/>
              <a:gd name="T24" fmla="*/ 213 w 512"/>
              <a:gd name="T25" fmla="*/ 256 h 512"/>
              <a:gd name="T26" fmla="*/ 213 w 512"/>
              <a:gd name="T27" fmla="*/ 224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94 w 512"/>
              <a:gd name="T39" fmla="*/ 266 h 512"/>
              <a:gd name="T40" fmla="*/ 341 w 512"/>
              <a:gd name="T41" fmla="*/ 213 h 512"/>
              <a:gd name="T42" fmla="*/ 224 w 512"/>
              <a:gd name="T43" fmla="*/ 213 h 512"/>
              <a:gd name="T44" fmla="*/ 213 w 512"/>
              <a:gd name="T45" fmla="*/ 224 h 512"/>
              <a:gd name="T46" fmla="*/ 181 w 512"/>
              <a:gd name="T47" fmla="*/ 192 h 512"/>
              <a:gd name="T48" fmla="*/ 149 w 512"/>
              <a:gd name="T49" fmla="*/ 224 h 512"/>
              <a:gd name="T50" fmla="*/ 181 w 512"/>
              <a:gd name="T51" fmla="*/ 256 h 512"/>
              <a:gd name="T52" fmla="*/ 138 w 512"/>
              <a:gd name="T53" fmla="*/ 256 h 512"/>
              <a:gd name="T54" fmla="*/ 138 w 512"/>
              <a:gd name="T55" fmla="*/ 192 h 512"/>
              <a:gd name="T56" fmla="*/ 128 w 512"/>
              <a:gd name="T57" fmla="*/ 181 h 512"/>
              <a:gd name="T58" fmla="*/ 117 w 512"/>
              <a:gd name="T59" fmla="*/ 192 h 512"/>
              <a:gd name="T60" fmla="*/ 117 w 512"/>
              <a:gd name="T61" fmla="*/ 320 h 512"/>
              <a:gd name="T62" fmla="*/ 128 w 512"/>
              <a:gd name="T63" fmla="*/ 330 h 512"/>
              <a:gd name="T64" fmla="*/ 138 w 512"/>
              <a:gd name="T65" fmla="*/ 320 h 512"/>
              <a:gd name="T66" fmla="*/ 138 w 512"/>
              <a:gd name="T67" fmla="*/ 277 h 512"/>
              <a:gd name="T68" fmla="*/ 224 w 512"/>
              <a:gd name="T69" fmla="*/ 277 h 512"/>
              <a:gd name="T70" fmla="*/ 373 w 512"/>
              <a:gd name="T71" fmla="*/ 277 h 512"/>
              <a:gd name="T72" fmla="*/ 373 w 512"/>
              <a:gd name="T73" fmla="*/ 320 h 512"/>
              <a:gd name="T74" fmla="*/ 384 w 512"/>
              <a:gd name="T75" fmla="*/ 330 h 512"/>
              <a:gd name="T76" fmla="*/ 394 w 512"/>
              <a:gd name="T77" fmla="*/ 320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341" y="234"/>
                </a:moveTo>
                <a:cubicBezTo>
                  <a:pt x="234" y="234"/>
                  <a:pt x="234" y="234"/>
                  <a:pt x="234" y="234"/>
                </a:cubicBezTo>
                <a:cubicBezTo>
                  <a:pt x="234" y="256"/>
                  <a:pt x="234" y="256"/>
                  <a:pt x="234" y="256"/>
                </a:cubicBezTo>
                <a:cubicBezTo>
                  <a:pt x="372" y="256"/>
                  <a:pt x="372" y="256"/>
                  <a:pt x="372" y="256"/>
                </a:cubicBezTo>
                <a:cubicBezTo>
                  <a:pt x="366" y="236"/>
                  <a:pt x="345" y="234"/>
                  <a:pt x="341" y="234"/>
                </a:cubicBezTo>
                <a:close/>
                <a:moveTo>
                  <a:pt x="213" y="224"/>
                </a:moveTo>
                <a:cubicBezTo>
                  <a:pt x="213" y="241"/>
                  <a:pt x="199" y="256"/>
                  <a:pt x="181" y="256"/>
                </a:cubicBezTo>
                <a:cubicBezTo>
                  <a:pt x="213" y="256"/>
                  <a:pt x="213" y="256"/>
                  <a:pt x="213" y="256"/>
                </a:cubicBezTo>
                <a:lnTo>
                  <a:pt x="21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6"/>
                </a:moveTo>
                <a:cubicBezTo>
                  <a:pt x="394" y="225"/>
                  <a:pt x="360" y="213"/>
                  <a:pt x="341" y="213"/>
                </a:cubicBezTo>
                <a:cubicBezTo>
                  <a:pt x="224" y="213"/>
                  <a:pt x="224" y="213"/>
                  <a:pt x="224" y="213"/>
                </a:cubicBezTo>
                <a:cubicBezTo>
                  <a:pt x="218" y="213"/>
                  <a:pt x="213" y="218"/>
                  <a:pt x="213" y="224"/>
                </a:cubicBezTo>
                <a:cubicBezTo>
                  <a:pt x="213" y="206"/>
                  <a:pt x="199" y="192"/>
                  <a:pt x="181" y="192"/>
                </a:cubicBezTo>
                <a:cubicBezTo>
                  <a:pt x="163" y="192"/>
                  <a:pt x="149" y="206"/>
                  <a:pt x="149" y="224"/>
                </a:cubicBezTo>
                <a:cubicBezTo>
                  <a:pt x="149" y="241"/>
                  <a:pt x="163" y="256"/>
                  <a:pt x="181" y="256"/>
                </a:cubicBezTo>
                <a:cubicBezTo>
                  <a:pt x="138" y="256"/>
                  <a:pt x="138" y="256"/>
                  <a:pt x="138" y="256"/>
                </a:cubicBezTo>
                <a:cubicBezTo>
                  <a:pt x="138" y="192"/>
                  <a:pt x="138" y="192"/>
                  <a:pt x="138" y="192"/>
                </a:cubicBezTo>
                <a:cubicBezTo>
                  <a:pt x="138" y="186"/>
                  <a:pt x="134" y="181"/>
                  <a:pt x="128" y="181"/>
                </a:cubicBezTo>
                <a:cubicBezTo>
                  <a:pt x="122" y="181"/>
                  <a:pt x="117" y="186"/>
                  <a:pt x="117" y="192"/>
                </a:cubicBezTo>
                <a:cubicBezTo>
                  <a:pt x="117" y="320"/>
                  <a:pt x="117" y="320"/>
                  <a:pt x="117" y="320"/>
                </a:cubicBezTo>
                <a:cubicBezTo>
                  <a:pt x="117" y="326"/>
                  <a:pt x="122" y="330"/>
                  <a:pt x="128" y="330"/>
                </a:cubicBezTo>
                <a:cubicBezTo>
                  <a:pt x="134" y="330"/>
                  <a:pt x="138" y="326"/>
                  <a:pt x="138" y="320"/>
                </a:cubicBezTo>
                <a:cubicBezTo>
                  <a:pt x="138" y="277"/>
                  <a:pt x="138" y="277"/>
                  <a:pt x="138" y="277"/>
                </a:cubicBezTo>
                <a:cubicBezTo>
                  <a:pt x="224" y="277"/>
                  <a:pt x="224" y="277"/>
                  <a:pt x="224" y="277"/>
                </a:cubicBezTo>
                <a:cubicBezTo>
                  <a:pt x="373" y="277"/>
                  <a:pt x="373" y="277"/>
                  <a:pt x="373" y="277"/>
                </a:cubicBezTo>
                <a:cubicBezTo>
                  <a:pt x="373" y="320"/>
                  <a:pt x="373" y="320"/>
                  <a:pt x="373" y="320"/>
                </a:cubicBezTo>
                <a:cubicBezTo>
                  <a:pt x="373" y="326"/>
                  <a:pt x="378" y="330"/>
                  <a:pt x="384" y="330"/>
                </a:cubicBezTo>
                <a:cubicBezTo>
                  <a:pt x="390" y="330"/>
                  <a:pt x="394" y="326"/>
                  <a:pt x="394" y="320"/>
                </a:cubicBezTo>
                <a:lnTo>
                  <a:pt x="394" y="26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6" name="Rectangle 5">
            <a:extLst>
              <a:ext uri="{FF2B5EF4-FFF2-40B4-BE49-F238E27FC236}">
                <a16:creationId xmlns:a16="http://schemas.microsoft.com/office/drawing/2014/main" xmlns="" id="{73F32FDA-0A4F-4B3A-8953-6F4DB3CFB341}"/>
              </a:ext>
            </a:extLst>
          </p:cNvPr>
          <p:cNvSpPr/>
          <p:nvPr/>
        </p:nvSpPr>
        <p:spPr bwMode="gray">
          <a:xfrm>
            <a:off x="7056783" y="6416966"/>
            <a:ext cx="1550504" cy="33793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8246746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136650"/>
            <a:ext cx="6958012" cy="4716463"/>
          </a:xfrm>
        </p:spPr>
        <p:txBody>
          <a:bodyPr/>
          <a:lstStyle/>
          <a:p>
            <a:r>
              <a:rPr lang="en-US" b="1" dirty="0"/>
              <a:t>TechnoUtsav Team</a:t>
            </a:r>
            <a:endParaRPr lang="en-US" dirty="0"/>
          </a:p>
          <a:p>
            <a:r>
              <a:rPr lang="en-US" dirty="0"/>
              <a:t>Orijit: 9986888312</a:t>
            </a:r>
          </a:p>
          <a:p>
            <a:endParaRPr lang="en-US" dirty="0"/>
          </a:p>
          <a:p>
            <a:endParaRPr lang="en-US" dirty="0"/>
          </a:p>
          <a:p>
            <a:r>
              <a:rPr lang="en-US" dirty="0"/>
              <a:t>In case of emergency :</a:t>
            </a:r>
            <a:br>
              <a:rPr lang="en-US" dirty="0"/>
            </a:br>
            <a:r>
              <a:rPr lang="en-US" dirty="0"/>
              <a:t/>
            </a:r>
            <a:br>
              <a:rPr lang="en-US" dirty="0"/>
            </a:br>
            <a:r>
              <a:rPr lang="en-US" dirty="0"/>
              <a:t>Security : +91 40 6670 1111, VoIP : 81111</a:t>
            </a:r>
            <a:br>
              <a:rPr lang="en-US" dirty="0"/>
            </a:br>
            <a:r>
              <a:rPr lang="en-US" dirty="0"/>
              <a:t/>
            </a:r>
            <a:br>
              <a:rPr lang="en-US" dirty="0"/>
            </a:br>
            <a:r>
              <a:rPr lang="en-US" dirty="0"/>
              <a:t>Hyderabad Front office : +91 406670 4000, VoIP : 74000</a:t>
            </a:r>
          </a:p>
        </p:txBody>
      </p:sp>
      <p:sp>
        <p:nvSpPr>
          <p:cNvPr id="3" name="Title 2"/>
          <p:cNvSpPr>
            <a:spLocks noGrp="1"/>
          </p:cNvSpPr>
          <p:nvPr>
            <p:ph type="title"/>
          </p:nvPr>
        </p:nvSpPr>
        <p:spPr/>
        <p:txBody>
          <a:bodyPr/>
          <a:lstStyle/>
          <a:p>
            <a:r>
              <a:rPr lang="en-US" dirty="0"/>
              <a:t>Important point of contacts</a:t>
            </a:r>
          </a:p>
        </p:txBody>
      </p:sp>
      <p:sp>
        <p:nvSpPr>
          <p:cNvPr id="5" name="Rectangle 4">
            <a:extLst>
              <a:ext uri="{FF2B5EF4-FFF2-40B4-BE49-F238E27FC236}">
                <a16:creationId xmlns:a16="http://schemas.microsoft.com/office/drawing/2014/main" xmlns="" id="{51CC8971-18F4-4B5A-AB35-0638C64788AD}"/>
              </a:ext>
            </a:extLst>
          </p:cNvPr>
          <p:cNvSpPr/>
          <p:nvPr/>
        </p:nvSpPr>
        <p:spPr bwMode="gray">
          <a:xfrm>
            <a:off x="7056783" y="6416966"/>
            <a:ext cx="1550504" cy="33793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80911509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152400"/>
            <a:ext cx="0" cy="0"/>
          </a:xfrm>
          <a:prstGeom prst="rect">
            <a:avLst/>
          </a:prstGeom>
        </p:spPr>
      </p:pic>
      <p:sp>
        <p:nvSpPr>
          <p:cNvPr id="21" name="USOC_Text"/>
          <p:cNvSpPr txBox="1">
            <a:spLocks/>
          </p:cNvSpPr>
          <p:nvPr/>
        </p:nvSpPr>
        <p:spPr bwMode="gray">
          <a:xfrm>
            <a:off x="380250" y="6191998"/>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dirty="0">
                <a:solidFill>
                  <a:schemeClr val="tx1"/>
                </a:solidFill>
              </a:rPr>
              <a:t>Copyright © 2018 Deloitte Development LLC. All rights reserved.</a:t>
            </a:r>
            <a:br>
              <a:rPr lang="en-US" sz="700" dirty="0">
                <a:solidFill>
                  <a:schemeClr val="tx1"/>
                </a:solidFill>
              </a:rPr>
            </a:br>
            <a:endParaRPr lang="en-US" sz="700" dirty="0">
              <a:solidFill>
                <a:schemeClr val="tx1"/>
              </a:solidFill>
            </a:endParaRPr>
          </a:p>
        </p:txBody>
      </p:sp>
    </p:spTree>
    <p:extLst>
      <p:ext uri="{BB962C8B-B14F-4D97-AF65-F5344CB8AC3E}">
        <p14:creationId xmlns:p14="http://schemas.microsoft.com/office/powerpoint/2010/main" val="28696420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F18B779-9903-4A50-BD87-4806636E7C13}" vid="{D2AC379D-75DC-4146-884E-6D4464D2BA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_US</Template>
  <TotalTime>7157</TotalTime>
  <Words>617</Words>
  <Application>Microsoft Office PowerPoint</Application>
  <PresentationFormat>On-screen Show (4:3)</PresentationFormat>
  <Paragraphs>43</Paragraphs>
  <Slides>6</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Open Sans</vt:lpstr>
      <vt:lpstr>Verdana</vt:lpstr>
      <vt:lpstr>Wingdings 2</vt:lpstr>
      <vt:lpstr>Deloitte 16_9 onscreen</vt:lpstr>
      <vt:lpstr>think-cell Slide</vt:lpstr>
      <vt:lpstr>PowerPoint Presentation</vt:lpstr>
      <vt:lpstr>Checklist for the grand finale</vt:lpstr>
      <vt:lpstr>Deloitte University Premise </vt:lpstr>
      <vt:lpstr>Your stay at IBIS</vt:lpstr>
      <vt:lpstr>Important point of contacts</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istrator</dc:creator>
  <cp:lastModifiedBy>Choudhury, Nandita</cp:lastModifiedBy>
  <cp:revision>28</cp:revision>
  <cp:lastPrinted>2014-06-25T02:16:22Z</cp:lastPrinted>
  <dcterms:created xsi:type="dcterms:W3CDTF">2018-01-08T12:57:46Z</dcterms:created>
  <dcterms:modified xsi:type="dcterms:W3CDTF">2018-04-10T16:28:39Z</dcterms:modified>
</cp:coreProperties>
</file>